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sldIdLst>
    <p:sldId id="256" r:id="rId2"/>
  </p:sldIdLst>
  <p:sldSz cx="42803763" cy="30275213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se Mbaye" initials="RM" lastIdx="6" clrIdx="0">
    <p:extLst>
      <p:ext uri="{19B8F6BF-5375-455C-9EA6-DF929625EA0E}">
        <p15:presenceInfo xmlns:p15="http://schemas.microsoft.com/office/powerpoint/2012/main" userId="0da21c4dc7309bc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C2B3"/>
    <a:srgbClr val="E72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41" autoAdjust="0"/>
    <p:restoredTop sz="94660"/>
  </p:normalViewPr>
  <p:slideViewPr>
    <p:cSldViewPr snapToGrid="0">
      <p:cViewPr>
        <p:scale>
          <a:sx n="26" d="100"/>
          <a:sy n="26" d="100"/>
        </p:scale>
        <p:origin x="186" y="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tags" Target="tags/tag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860681114551083"/>
          <c:y val="1.6650656420108868E-2"/>
          <c:w val="0.70278637770897834"/>
          <c:h val="0.9490874159462054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522254242715337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DA4-4C7E-8522-BFC556F56AE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8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DA4-4C7E-8522-BFC556F56AEF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522254242715337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DA4-4C7E-8522-BFC556F56AE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71.10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DA4-4C7E-8522-BFC556F56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-791257776"/>
        <c:axId val="-791256688"/>
      </c:barChart>
      <c:catAx>
        <c:axId val="-791257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791256688"/>
        <c:crosses val="min"/>
        <c:auto val="0"/>
        <c:lblAlgn val="ctr"/>
        <c:lblOffset val="100"/>
        <c:noMultiLvlLbl val="0"/>
      </c:catAx>
      <c:valAx>
        <c:axId val="-791256688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7912577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75612353567625E-2"/>
          <c:y val="1.6785022595222722E-2"/>
          <c:w val="0.97784877529286474"/>
          <c:h val="0.948676565526145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227888960619754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F03-411E-A8DD-BD3FC781A7B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3.227888960619754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F03-411E-A8DD-BD3FC781A7B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.7</c:v>
                </c:pt>
                <c:pt idx="2">
                  <c:v>1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F03-411E-A8DD-BD3FC781A7B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227888960619754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F03-411E-A8DD-BD3FC781A7B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3.227888960619754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4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F03-411E-A8DD-BD3FC781A7B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77.3</c:v>
                </c:pt>
                <c:pt idx="2">
                  <c:v>84.39999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F03-411E-A8DD-BD3FC781A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-638340464"/>
        <c:axId val="-638339920"/>
      </c:barChart>
      <c:catAx>
        <c:axId val="-638340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638339920"/>
        <c:crosses val="min"/>
        <c:auto val="0"/>
        <c:lblAlgn val="ctr"/>
        <c:lblOffset val="100"/>
        <c:noMultiLvlLbl val="0"/>
      </c:catAx>
      <c:valAx>
        <c:axId val="-638339920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638340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10282" y="4954765"/>
            <a:ext cx="36383199" cy="10540259"/>
          </a:xfrm>
        </p:spPr>
        <p:txBody>
          <a:bodyPr anchor="b"/>
          <a:lstStyle>
            <a:lvl1pPr algn="ctr">
              <a:defRPr sz="2648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50471" y="15901497"/>
            <a:ext cx="32102822" cy="7309499"/>
          </a:xfrm>
        </p:spPr>
        <p:txBody>
          <a:bodyPr/>
          <a:lstStyle>
            <a:lvl1pPr marL="0" indent="0" algn="ctr">
              <a:buNone/>
              <a:defRPr sz="10595"/>
            </a:lvl1pPr>
            <a:lvl2pPr marL="2018355" indent="0" algn="ctr">
              <a:buNone/>
              <a:defRPr sz="8829"/>
            </a:lvl2pPr>
            <a:lvl3pPr marL="4036710" indent="0" algn="ctr">
              <a:buNone/>
              <a:defRPr sz="7946"/>
            </a:lvl3pPr>
            <a:lvl4pPr marL="6055065" indent="0" algn="ctr">
              <a:buNone/>
              <a:defRPr sz="7063"/>
            </a:lvl4pPr>
            <a:lvl5pPr marL="8073420" indent="0" algn="ctr">
              <a:buNone/>
              <a:defRPr sz="7063"/>
            </a:lvl5pPr>
            <a:lvl6pPr marL="10091776" indent="0" algn="ctr">
              <a:buNone/>
              <a:defRPr sz="7063"/>
            </a:lvl6pPr>
            <a:lvl7pPr marL="12110131" indent="0" algn="ctr">
              <a:buNone/>
              <a:defRPr sz="7063"/>
            </a:lvl7pPr>
            <a:lvl8pPr marL="14128486" indent="0" algn="ctr">
              <a:buNone/>
              <a:defRPr sz="7063"/>
            </a:lvl8pPr>
            <a:lvl9pPr marL="16146841" indent="0" algn="ctr">
              <a:buNone/>
              <a:defRPr sz="7063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5495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3552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0631445" y="1611875"/>
            <a:ext cx="9229561" cy="256568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42761" y="1611875"/>
            <a:ext cx="27153637" cy="256568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80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6094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0467" y="7547788"/>
            <a:ext cx="36918246" cy="12593645"/>
          </a:xfrm>
        </p:spPr>
        <p:txBody>
          <a:bodyPr anchor="b"/>
          <a:lstStyle>
            <a:lvl1pPr>
              <a:defRPr sz="26488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20467" y="20260574"/>
            <a:ext cx="36918246" cy="6622701"/>
          </a:xfrm>
        </p:spPr>
        <p:txBody>
          <a:bodyPr/>
          <a:lstStyle>
            <a:lvl1pPr marL="0" indent="0">
              <a:buNone/>
              <a:defRPr sz="10595">
                <a:solidFill>
                  <a:schemeClr val="tx1"/>
                </a:solidFill>
              </a:defRPr>
            </a:lvl1pPr>
            <a:lvl2pPr marL="2018355" indent="0">
              <a:buNone/>
              <a:defRPr sz="8829">
                <a:solidFill>
                  <a:schemeClr val="tx1">
                    <a:tint val="75000"/>
                  </a:schemeClr>
                </a:solidFill>
              </a:defRPr>
            </a:lvl2pPr>
            <a:lvl3pPr marL="4036710" indent="0">
              <a:buNone/>
              <a:defRPr sz="7946">
                <a:solidFill>
                  <a:schemeClr val="tx1">
                    <a:tint val="75000"/>
                  </a:schemeClr>
                </a:solidFill>
              </a:defRPr>
            </a:lvl3pPr>
            <a:lvl4pPr marL="6055065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4pPr>
            <a:lvl5pPr marL="8073420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5pPr>
            <a:lvl6pPr marL="10091776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6pPr>
            <a:lvl7pPr marL="12110131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7pPr>
            <a:lvl8pPr marL="14128486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8pPr>
            <a:lvl9pPr marL="16146841" indent="0">
              <a:buNone/>
              <a:defRPr sz="706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230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42759" y="8059374"/>
            <a:ext cx="18191599" cy="19209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669405" y="8059374"/>
            <a:ext cx="18191599" cy="19209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8162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8334" y="1611882"/>
            <a:ext cx="36918246" cy="58518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48339" y="7421634"/>
            <a:ext cx="18107995" cy="3637228"/>
          </a:xfrm>
        </p:spPr>
        <p:txBody>
          <a:bodyPr anchor="b"/>
          <a:lstStyle>
            <a:lvl1pPr marL="0" indent="0">
              <a:buNone/>
              <a:defRPr sz="10595" b="1"/>
            </a:lvl1pPr>
            <a:lvl2pPr marL="2018355" indent="0">
              <a:buNone/>
              <a:defRPr sz="8829" b="1"/>
            </a:lvl2pPr>
            <a:lvl3pPr marL="4036710" indent="0">
              <a:buNone/>
              <a:defRPr sz="7946" b="1"/>
            </a:lvl3pPr>
            <a:lvl4pPr marL="6055065" indent="0">
              <a:buNone/>
              <a:defRPr sz="7063" b="1"/>
            </a:lvl4pPr>
            <a:lvl5pPr marL="8073420" indent="0">
              <a:buNone/>
              <a:defRPr sz="7063" b="1"/>
            </a:lvl5pPr>
            <a:lvl6pPr marL="10091776" indent="0">
              <a:buNone/>
              <a:defRPr sz="7063" b="1"/>
            </a:lvl6pPr>
            <a:lvl7pPr marL="12110131" indent="0">
              <a:buNone/>
              <a:defRPr sz="7063" b="1"/>
            </a:lvl7pPr>
            <a:lvl8pPr marL="14128486" indent="0">
              <a:buNone/>
              <a:defRPr sz="7063" b="1"/>
            </a:lvl8pPr>
            <a:lvl9pPr marL="16146841" indent="0">
              <a:buNone/>
              <a:defRPr sz="706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48339" y="11058863"/>
            <a:ext cx="18107995" cy="162659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1669408" y="7421634"/>
            <a:ext cx="18197174" cy="3637228"/>
          </a:xfrm>
        </p:spPr>
        <p:txBody>
          <a:bodyPr anchor="b"/>
          <a:lstStyle>
            <a:lvl1pPr marL="0" indent="0">
              <a:buNone/>
              <a:defRPr sz="10595" b="1"/>
            </a:lvl1pPr>
            <a:lvl2pPr marL="2018355" indent="0">
              <a:buNone/>
              <a:defRPr sz="8829" b="1"/>
            </a:lvl2pPr>
            <a:lvl3pPr marL="4036710" indent="0">
              <a:buNone/>
              <a:defRPr sz="7946" b="1"/>
            </a:lvl3pPr>
            <a:lvl4pPr marL="6055065" indent="0">
              <a:buNone/>
              <a:defRPr sz="7063" b="1"/>
            </a:lvl4pPr>
            <a:lvl5pPr marL="8073420" indent="0">
              <a:buNone/>
              <a:defRPr sz="7063" b="1"/>
            </a:lvl5pPr>
            <a:lvl6pPr marL="10091776" indent="0">
              <a:buNone/>
              <a:defRPr sz="7063" b="1"/>
            </a:lvl6pPr>
            <a:lvl7pPr marL="12110131" indent="0">
              <a:buNone/>
              <a:defRPr sz="7063" b="1"/>
            </a:lvl7pPr>
            <a:lvl8pPr marL="14128486" indent="0">
              <a:buNone/>
              <a:defRPr sz="7063" b="1"/>
            </a:lvl8pPr>
            <a:lvl9pPr marL="16146841" indent="0">
              <a:buNone/>
              <a:defRPr sz="706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1669408" y="11058863"/>
            <a:ext cx="18197174" cy="162659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5207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877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4518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8334" y="2018348"/>
            <a:ext cx="13805328" cy="7064216"/>
          </a:xfrm>
        </p:spPr>
        <p:txBody>
          <a:bodyPr anchor="b"/>
          <a:lstStyle>
            <a:lvl1pPr>
              <a:defRPr sz="141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197174" y="4359077"/>
            <a:ext cx="21669405" cy="21515024"/>
          </a:xfrm>
        </p:spPr>
        <p:txBody>
          <a:bodyPr/>
          <a:lstStyle>
            <a:lvl1pPr>
              <a:defRPr sz="14127"/>
            </a:lvl1pPr>
            <a:lvl2pPr>
              <a:defRPr sz="12361"/>
            </a:lvl2pPr>
            <a:lvl3pPr>
              <a:defRPr sz="10595"/>
            </a:lvl3pPr>
            <a:lvl4pPr>
              <a:defRPr sz="8829"/>
            </a:lvl4pPr>
            <a:lvl5pPr>
              <a:defRPr sz="8829"/>
            </a:lvl5pPr>
            <a:lvl6pPr>
              <a:defRPr sz="8829"/>
            </a:lvl6pPr>
            <a:lvl7pPr>
              <a:defRPr sz="8829"/>
            </a:lvl7pPr>
            <a:lvl8pPr>
              <a:defRPr sz="8829"/>
            </a:lvl8pPr>
            <a:lvl9pPr>
              <a:defRPr sz="882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48334" y="9082564"/>
            <a:ext cx="13805328" cy="16826573"/>
          </a:xfrm>
        </p:spPr>
        <p:txBody>
          <a:bodyPr/>
          <a:lstStyle>
            <a:lvl1pPr marL="0" indent="0">
              <a:buNone/>
              <a:defRPr sz="7063"/>
            </a:lvl1pPr>
            <a:lvl2pPr marL="2018355" indent="0">
              <a:buNone/>
              <a:defRPr sz="6180"/>
            </a:lvl2pPr>
            <a:lvl3pPr marL="4036710" indent="0">
              <a:buNone/>
              <a:defRPr sz="5298"/>
            </a:lvl3pPr>
            <a:lvl4pPr marL="6055065" indent="0">
              <a:buNone/>
              <a:defRPr sz="4415"/>
            </a:lvl4pPr>
            <a:lvl5pPr marL="8073420" indent="0">
              <a:buNone/>
              <a:defRPr sz="4415"/>
            </a:lvl5pPr>
            <a:lvl6pPr marL="10091776" indent="0">
              <a:buNone/>
              <a:defRPr sz="4415"/>
            </a:lvl6pPr>
            <a:lvl7pPr marL="12110131" indent="0">
              <a:buNone/>
              <a:defRPr sz="4415"/>
            </a:lvl7pPr>
            <a:lvl8pPr marL="14128486" indent="0">
              <a:buNone/>
              <a:defRPr sz="4415"/>
            </a:lvl8pPr>
            <a:lvl9pPr marL="16146841" indent="0">
              <a:buNone/>
              <a:defRPr sz="441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6820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8334" y="2018348"/>
            <a:ext cx="13805328" cy="7064216"/>
          </a:xfrm>
        </p:spPr>
        <p:txBody>
          <a:bodyPr anchor="b"/>
          <a:lstStyle>
            <a:lvl1pPr>
              <a:defRPr sz="141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8197174" y="4359077"/>
            <a:ext cx="21669405" cy="21515024"/>
          </a:xfrm>
        </p:spPr>
        <p:txBody>
          <a:bodyPr anchor="t"/>
          <a:lstStyle>
            <a:lvl1pPr marL="0" indent="0">
              <a:buNone/>
              <a:defRPr sz="14127"/>
            </a:lvl1pPr>
            <a:lvl2pPr marL="2018355" indent="0">
              <a:buNone/>
              <a:defRPr sz="12361"/>
            </a:lvl2pPr>
            <a:lvl3pPr marL="4036710" indent="0">
              <a:buNone/>
              <a:defRPr sz="10595"/>
            </a:lvl3pPr>
            <a:lvl4pPr marL="6055065" indent="0">
              <a:buNone/>
              <a:defRPr sz="8829"/>
            </a:lvl4pPr>
            <a:lvl5pPr marL="8073420" indent="0">
              <a:buNone/>
              <a:defRPr sz="8829"/>
            </a:lvl5pPr>
            <a:lvl6pPr marL="10091776" indent="0">
              <a:buNone/>
              <a:defRPr sz="8829"/>
            </a:lvl6pPr>
            <a:lvl7pPr marL="12110131" indent="0">
              <a:buNone/>
              <a:defRPr sz="8829"/>
            </a:lvl7pPr>
            <a:lvl8pPr marL="14128486" indent="0">
              <a:buNone/>
              <a:defRPr sz="8829"/>
            </a:lvl8pPr>
            <a:lvl9pPr marL="16146841" indent="0">
              <a:buNone/>
              <a:defRPr sz="882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48334" y="9082564"/>
            <a:ext cx="13805328" cy="16826573"/>
          </a:xfrm>
        </p:spPr>
        <p:txBody>
          <a:bodyPr/>
          <a:lstStyle>
            <a:lvl1pPr marL="0" indent="0">
              <a:buNone/>
              <a:defRPr sz="7063"/>
            </a:lvl1pPr>
            <a:lvl2pPr marL="2018355" indent="0">
              <a:buNone/>
              <a:defRPr sz="6180"/>
            </a:lvl2pPr>
            <a:lvl3pPr marL="4036710" indent="0">
              <a:buNone/>
              <a:defRPr sz="5298"/>
            </a:lvl3pPr>
            <a:lvl4pPr marL="6055065" indent="0">
              <a:buNone/>
              <a:defRPr sz="4415"/>
            </a:lvl4pPr>
            <a:lvl5pPr marL="8073420" indent="0">
              <a:buNone/>
              <a:defRPr sz="4415"/>
            </a:lvl5pPr>
            <a:lvl6pPr marL="10091776" indent="0">
              <a:buNone/>
              <a:defRPr sz="4415"/>
            </a:lvl6pPr>
            <a:lvl7pPr marL="12110131" indent="0">
              <a:buNone/>
              <a:defRPr sz="4415"/>
            </a:lvl7pPr>
            <a:lvl8pPr marL="14128486" indent="0">
              <a:buNone/>
              <a:defRPr sz="4415"/>
            </a:lvl8pPr>
            <a:lvl9pPr marL="16146841" indent="0">
              <a:buNone/>
              <a:defRPr sz="441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608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5736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16" imgW="470" imgH="469" progId="TCLayout.ActiveDocument.1">
                  <p:embed/>
                </p:oleObj>
              </mc:Choice>
              <mc:Fallback>
                <p:oleObj name="think-cell Slide" r:id="rId1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424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2759" y="1611882"/>
            <a:ext cx="36918246" cy="58518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42759" y="8059374"/>
            <a:ext cx="36918246" cy="19209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942759" y="28060644"/>
            <a:ext cx="9630847" cy="1611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2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144DE8-AE3D-40A8-90B8-FB90AC599C3D}" type="datetimeFigureOut">
              <a:rPr lang="en-GB" smtClean="0"/>
              <a:t>20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78747" y="28060644"/>
            <a:ext cx="14446270" cy="1611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2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230157" y="28060644"/>
            <a:ext cx="9630847" cy="1611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2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EC4D90-E909-4F87-A3D0-77D3250A7A1C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66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4036710" rtl="0" eaLnBrk="1" latinLnBrk="0" hangingPunct="1">
        <a:lnSpc>
          <a:spcPct val="90000"/>
        </a:lnSpc>
        <a:spcBef>
          <a:spcPct val="0"/>
        </a:spcBef>
        <a:buNone/>
        <a:defRPr sz="1942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09178" indent="-1009178" algn="l" defTabSz="4036710" rtl="0" eaLnBrk="1" latinLnBrk="0" hangingPunct="1">
        <a:lnSpc>
          <a:spcPct val="90000"/>
        </a:lnSpc>
        <a:spcBef>
          <a:spcPts val="4415"/>
        </a:spcBef>
        <a:buFont typeface="Arial" panose="020B0604020202020204" pitchFamily="34" charset="0"/>
        <a:buChar char="•"/>
        <a:defRPr sz="12361" kern="1200">
          <a:solidFill>
            <a:schemeClr val="tx1"/>
          </a:solidFill>
          <a:latin typeface="+mn-lt"/>
          <a:ea typeface="+mn-ea"/>
          <a:cs typeface="+mn-cs"/>
        </a:defRPr>
      </a:lvl1pPr>
      <a:lvl2pPr marL="3027533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10595" kern="1200">
          <a:solidFill>
            <a:schemeClr val="tx1"/>
          </a:solidFill>
          <a:latin typeface="+mn-lt"/>
          <a:ea typeface="+mn-ea"/>
          <a:cs typeface="+mn-cs"/>
        </a:defRPr>
      </a:lvl2pPr>
      <a:lvl3pPr marL="5045888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8829" kern="1200">
          <a:solidFill>
            <a:schemeClr val="tx1"/>
          </a:solidFill>
          <a:latin typeface="+mn-lt"/>
          <a:ea typeface="+mn-ea"/>
          <a:cs typeface="+mn-cs"/>
        </a:defRPr>
      </a:lvl3pPr>
      <a:lvl4pPr marL="7064243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4pPr>
      <a:lvl5pPr marL="9082598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5pPr>
      <a:lvl6pPr marL="11100953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6pPr>
      <a:lvl7pPr marL="13119308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7pPr>
      <a:lvl8pPr marL="15137663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8pPr>
      <a:lvl9pPr marL="17156019" indent="-1009178" algn="l" defTabSz="4036710" rtl="0" eaLnBrk="1" latinLnBrk="0" hangingPunct="1">
        <a:lnSpc>
          <a:spcPct val="90000"/>
        </a:lnSpc>
        <a:spcBef>
          <a:spcPts val="2207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1pPr>
      <a:lvl2pPr marL="2018355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4036710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3pPr>
      <a:lvl4pPr marL="6055065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4pPr>
      <a:lvl5pPr marL="8073420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5pPr>
      <a:lvl6pPr marL="10091776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6pPr>
      <a:lvl7pPr marL="12110131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7pPr>
      <a:lvl8pPr marL="14128486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8pPr>
      <a:lvl9pPr marL="16146841" algn="l" defTabSz="4036710" rtl="0" eaLnBrk="1" latinLnBrk="0" hangingPunct="1">
        <a:defRPr sz="79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5.png"/><Relationship Id="rId3" Type="http://schemas.openxmlformats.org/officeDocument/2006/relationships/tags" Target="../tags/tag5.xml"/><Relationship Id="rId21" Type="http://schemas.openxmlformats.org/officeDocument/2006/relationships/oleObject" Target="../embeddings/oleObject2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4.jp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3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2.png"/><Relationship Id="rId28" Type="http://schemas.openxmlformats.org/officeDocument/2006/relationships/chart" Target="../charts/chart2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.emf"/><Relationship Id="rId27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631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1" imgW="470" imgH="469" progId="TCLayout.ActiveDocument.1">
                  <p:embed/>
                </p:oleObj>
              </mc:Choice>
              <mc:Fallback>
                <p:oleObj name="think-cell Slide" r:id="rId21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35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42803763" cy="3338521"/>
          </a:xfrm>
          <a:prstGeom prst="rect">
            <a:avLst/>
          </a:prstGeom>
          <a:solidFill>
            <a:srgbClr val="E7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64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1078665" y="3983635"/>
            <a:ext cx="5131121" cy="587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6000" b="1" dirty="0">
                <a:solidFill>
                  <a:srgbClr val="46C2B3"/>
                </a:solidFill>
              </a:rPr>
              <a:t>BACKGROUND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1325612" y="19725839"/>
            <a:ext cx="14663475" cy="516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b="1" dirty="0"/>
              <a:t>Type of study: </a:t>
            </a:r>
            <a:r>
              <a:rPr lang="en-US" sz="4000" dirty="0"/>
              <a:t>retrospective and prospective</a:t>
            </a:r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b="1" dirty="0"/>
              <a:t>Study site</a:t>
            </a:r>
            <a:r>
              <a:rPr lang="en-US" sz="4000" dirty="0"/>
              <a:t>: 8 pilot sites</a:t>
            </a:r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b="1" dirty="0"/>
              <a:t>Study population</a:t>
            </a:r>
            <a:r>
              <a:rPr lang="en-US" sz="4000" dirty="0"/>
              <a:t>: HEI aged 6 weeks or older and PLHIV who required a VL test for treatment monitoring </a:t>
            </a:r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b="1" dirty="0"/>
              <a:t>Data collection</a:t>
            </a:r>
            <a:r>
              <a:rPr lang="en-US" sz="4000" dirty="0"/>
              <a:t>:  Data were obtained from health facility registers and were collected using </a:t>
            </a:r>
            <a:r>
              <a:rPr lang="en-US" sz="4000" dirty="0" err="1"/>
              <a:t>SurveyCTO</a:t>
            </a:r>
            <a:r>
              <a:rPr lang="en-US" sz="4000" dirty="0"/>
              <a:t> </a:t>
            </a:r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b="1" dirty="0"/>
              <a:t>Time period</a:t>
            </a:r>
            <a:r>
              <a:rPr lang="en-US" sz="4000" dirty="0"/>
              <a:t>: Three months of service data from 2018 and 2019 were compared before and after POC intervention</a:t>
            </a:r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4000" dirty="0">
              <a:latin typeface="Arial" panose="020B0604020202020204" pitchFamily="34" charset="0"/>
            </a:endParaRPr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4000" dirty="0">
              <a:latin typeface="Arial" panose="020B0604020202020204" pitchFamily="34" charset="0"/>
            </a:endParaRPr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4000" dirty="0">
              <a:latin typeface="Arial" panose="020B0604020202020204" pitchFamily="34" charset="0"/>
            </a:endParaRPr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4000" dirty="0">
              <a:latin typeface="Arial" panose="020B0604020202020204" pitchFamily="34" charset="0"/>
            </a:endParaRPr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000" dirty="0">
                <a:latin typeface="Arial" panose="020B0604020202020204" pitchFamily="34" charset="0"/>
              </a:rPr>
              <a:t>  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2434824" y="307616"/>
            <a:ext cx="37934113" cy="11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7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centralization of EID and VL testing in Senegal: Results from the Point-of-Care pilot </a:t>
            </a:r>
            <a:endParaRPr lang="fr-FR" sz="72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4908885" y="1886797"/>
            <a:ext cx="35152836" cy="797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07000"/>
              </a:lnSpc>
            </a:pPr>
            <a:r>
              <a:rPr lang="fr-FR" sz="3000" b="1" u="sng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libaly KD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diaye PM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 Dieye FL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ow A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éne PY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iallo S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gom NF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4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iernan B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baye RN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iallo AN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iop N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Diop  K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diaye HD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ane C T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fr-FR" sz="3000" b="1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dour CT </a:t>
            </a:r>
            <a:r>
              <a:rPr lang="fr-FR" sz="3000" b="1" baseline="30000" dirty="0">
                <a:latin typeface="Gill Sans MT" panose="020B05020201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fr-FR" sz="3000" b="1" dirty="0">
              <a:latin typeface="Gill Sans MT" panose="020B0502020104020203" pitchFamily="34" charset="0"/>
            </a:endParaRPr>
          </a:p>
        </p:txBody>
      </p:sp>
      <p:cxnSp>
        <p:nvCxnSpPr>
          <p:cNvPr id="1035" name="AutoShape 11"/>
          <p:cNvCxnSpPr>
            <a:cxnSpLocks noChangeShapeType="1"/>
          </p:cNvCxnSpPr>
          <p:nvPr/>
        </p:nvCxnSpPr>
        <p:spPr bwMode="auto">
          <a:xfrm>
            <a:off x="11940877" y="28863607"/>
            <a:ext cx="18922008" cy="0"/>
          </a:xfrm>
          <a:prstGeom prst="straightConnector1">
            <a:avLst/>
          </a:prstGeom>
          <a:noFill/>
          <a:ln w="76200">
            <a:solidFill>
              <a:srgbClr val="EF402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68686"/>
                  </a:outerShdw>
                </a:effectLst>
              </a14:hiddenEffects>
            </a:ext>
          </a:extLst>
        </p:spPr>
      </p:cxnSp>
      <p:sp>
        <p:nvSpPr>
          <p:cNvPr id="2" name="Rectangle 1"/>
          <p:cNvSpPr/>
          <p:nvPr/>
        </p:nvSpPr>
        <p:spPr>
          <a:xfrm>
            <a:off x="0" y="28863607"/>
            <a:ext cx="42803763" cy="1411605"/>
          </a:xfrm>
          <a:prstGeom prst="rect">
            <a:avLst/>
          </a:prstGeom>
          <a:solidFill>
            <a:srgbClr val="E72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64"/>
          </a:p>
        </p:txBody>
      </p:sp>
      <p:sp>
        <p:nvSpPr>
          <p:cNvPr id="14" name="TextBox 13"/>
          <p:cNvSpPr txBox="1"/>
          <p:nvPr/>
        </p:nvSpPr>
        <p:spPr>
          <a:xfrm>
            <a:off x="275770" y="29178175"/>
            <a:ext cx="8348516" cy="820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365" b="1" dirty="0">
                <a:solidFill>
                  <a:schemeClr val="bg1"/>
                </a:solidFill>
                <a:latin typeface="Century Gothic" panose="020B0502020202020204" pitchFamily="34" charset="0"/>
              </a:rPr>
              <a:t>PRESENTED AT THE 23</a:t>
            </a:r>
            <a:r>
              <a:rPr lang="en-GB" sz="2365" b="1" baseline="30000" dirty="0">
                <a:solidFill>
                  <a:schemeClr val="bg1"/>
                </a:solidFill>
                <a:latin typeface="Century Gothic" panose="020B0502020202020204" pitchFamily="34" charset="0"/>
              </a:rPr>
              <a:t>RD</a:t>
            </a:r>
            <a:r>
              <a:rPr lang="en-GB" sz="2365" b="1" dirty="0">
                <a:solidFill>
                  <a:schemeClr val="bg1"/>
                </a:solidFill>
                <a:latin typeface="Century Gothic" panose="020B0502020202020204" pitchFamily="34" charset="0"/>
              </a:rPr>
              <a:t> INTERNATIONAL AIDS CONFERENCE (AIDS 2020) </a:t>
            </a:r>
            <a:r>
              <a:rPr lang="es-ES" sz="2365" b="1" dirty="0">
                <a:solidFill>
                  <a:schemeClr val="bg1"/>
                </a:solidFill>
                <a:latin typeface="Century Gothic" panose="020B0502020202020204" pitchFamily="34" charset="0"/>
              </a:rPr>
              <a:t>| 6-10 JULY 2020</a:t>
            </a:r>
            <a:endParaRPr lang="en-GB" sz="2365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2854" y="29111273"/>
            <a:ext cx="5430051" cy="916274"/>
          </a:xfrm>
          <a:prstGeom prst="rect">
            <a:avLst/>
          </a:prstGeom>
        </p:spPr>
      </p:pic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1273320" y="26174851"/>
            <a:ext cx="39191731" cy="2552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000" b="1" dirty="0"/>
              <a:t>                                                                                                    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The use of POCs at the decentralized level improves access to HIV diagnostics and turnaround time for EID and VL tests, thus allowing for better clinical management of patien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EID and VL test decentralization could be further improved with mentoring and support for healthcare workers to follow national guidelines and to strengthen health facility data</a:t>
            </a:r>
            <a:endParaRPr lang="en-US" sz="4000" dirty="0">
              <a:solidFill>
                <a:srgbClr val="FF000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r-FR" sz="4000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366058" y="13132872"/>
            <a:ext cx="5633478" cy="42672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26" y="13041339"/>
            <a:ext cx="5731643" cy="4292600"/>
          </a:xfrm>
          <a:prstGeom prst="rect">
            <a:avLst/>
          </a:prstGeom>
        </p:spPr>
      </p:pic>
      <p:sp>
        <p:nvSpPr>
          <p:cNvPr id="28" name="Text Box 7"/>
          <p:cNvSpPr txBox="1">
            <a:spLocks noChangeArrowheads="1"/>
          </p:cNvSpPr>
          <p:nvPr/>
        </p:nvSpPr>
        <p:spPr bwMode="auto">
          <a:xfrm>
            <a:off x="0" y="2376992"/>
            <a:ext cx="44022142" cy="948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07000"/>
              </a:lnSpc>
            </a:pPr>
            <a:endParaRPr lang="fr-FR" sz="2400" b="1" baseline="30000" dirty="0">
              <a:latin typeface="Gill Sans MT" panose="020B05020201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fr-FR" sz="3000" b="1" dirty="0">
                <a:latin typeface="Gill Sans MT" panose="020B0502020104020203" pitchFamily="34" charset="0"/>
              </a:rPr>
              <a:t>       1 </a:t>
            </a:r>
            <a:r>
              <a:rPr lang="en-US" sz="3000" b="1" dirty="0">
                <a:latin typeface="Gill Sans MT" panose="020B0502020104020203" pitchFamily="34" charset="0"/>
              </a:rPr>
              <a:t>Division of AIDS and STI Control</a:t>
            </a:r>
            <a:r>
              <a:rPr lang="fr-FR" sz="3000" b="1" dirty="0" smtClean="0">
                <a:latin typeface="Gill Sans MT" panose="020B0502020104020203" pitchFamily="34" charset="0"/>
              </a:rPr>
              <a:t>, </a:t>
            </a:r>
            <a:r>
              <a:rPr lang="fr-FR" sz="3000" b="1" dirty="0">
                <a:latin typeface="Gill Sans MT" panose="020B0502020104020203" pitchFamily="34" charset="0"/>
              </a:rPr>
              <a:t>2 </a:t>
            </a:r>
            <a:r>
              <a:rPr lang="en-US" sz="3000" b="1" dirty="0">
                <a:latin typeface="Gill Sans MT" panose="020B0502020104020203" pitchFamily="34" charset="0"/>
              </a:rPr>
              <a:t>Laboratory of Bacteriology and Virology of A. Le Dantec</a:t>
            </a:r>
            <a:r>
              <a:rPr lang="fr-FR" sz="3000" b="1" dirty="0" smtClean="0">
                <a:latin typeface="Gill Sans MT" panose="020B0502020104020203" pitchFamily="34" charset="0"/>
              </a:rPr>
              <a:t>, </a:t>
            </a:r>
            <a:r>
              <a:rPr lang="fr-FR" sz="3000" b="1" dirty="0">
                <a:latin typeface="Gill Sans MT" panose="020B0502020104020203" pitchFamily="34" charset="0"/>
              </a:rPr>
              <a:t>3 </a:t>
            </a:r>
            <a:r>
              <a:rPr lang="fr-FR" sz="3000" b="1" dirty="0">
                <a:latin typeface="Gill Sans MT" panose="020B0502020104020203" pitchFamily="34" charset="0"/>
              </a:rPr>
              <a:t>Hospital </a:t>
            </a:r>
            <a:r>
              <a:rPr lang="fr-FR" sz="3000" b="1" dirty="0">
                <a:latin typeface="Gill Sans MT" panose="020B0502020104020203" pitchFamily="34" charset="0"/>
              </a:rPr>
              <a:t>Dalal Diam, IRESSEF, 4 UNICEF, 5 Clinton Health Access Initiative,  6  </a:t>
            </a:r>
            <a:r>
              <a:rPr lang="en-US" sz="3000" b="1" dirty="0">
                <a:latin typeface="Gill Sans MT" panose="020B0502020104020203" pitchFamily="34" charset="0"/>
              </a:rPr>
              <a:t>National Council for the Fight against AIDS</a:t>
            </a:r>
            <a:endParaRPr lang="fr-FR" sz="3000" b="1" dirty="0">
              <a:latin typeface="Gill Sans MT" panose="020B0502020104020203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8746936" y="26405869"/>
            <a:ext cx="3738275" cy="1929156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1090346" y="4878062"/>
            <a:ext cx="15049441" cy="4341031"/>
          </a:xfrm>
          <a:prstGeom prst="rect">
            <a:avLst/>
          </a:prstGeom>
          <a:noFill/>
          <a:ln w="76200">
            <a:solidFill>
              <a:srgbClr val="46C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dirty="0"/>
          </a:p>
        </p:txBody>
      </p:sp>
      <p:sp>
        <p:nvSpPr>
          <p:cNvPr id="30" name="Text Box 3"/>
          <p:cNvSpPr txBox="1">
            <a:spLocks noChangeArrowheads="1"/>
          </p:cNvSpPr>
          <p:nvPr/>
        </p:nvSpPr>
        <p:spPr bwMode="auto">
          <a:xfrm>
            <a:off x="1341666" y="10199028"/>
            <a:ext cx="14798121" cy="2209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dirty="0"/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To assess the influence of decentralizing EID and VL testing with Point-of-Care (POC) </a:t>
            </a:r>
            <a:r>
              <a:rPr lang="en-US" sz="4000" dirty="0" smtClean="0"/>
              <a:t>testing on </a:t>
            </a:r>
            <a:r>
              <a:rPr lang="en-US" sz="4000" dirty="0"/>
              <a:t>result return and clinical decision making </a:t>
            </a:r>
          </a:p>
          <a:p>
            <a:pPr algn="just"/>
            <a:endParaRPr lang="en-US" sz="3000" dirty="0"/>
          </a:p>
        </p:txBody>
      </p:sp>
      <p:sp>
        <p:nvSpPr>
          <p:cNvPr id="31" name="Text Box 3"/>
          <p:cNvSpPr txBox="1">
            <a:spLocks noChangeArrowheads="1"/>
          </p:cNvSpPr>
          <p:nvPr/>
        </p:nvSpPr>
        <p:spPr bwMode="auto">
          <a:xfrm>
            <a:off x="1099564" y="9505343"/>
            <a:ext cx="4083233" cy="693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6000" b="1" dirty="0">
                <a:solidFill>
                  <a:srgbClr val="46C2B3"/>
                </a:solidFill>
              </a:rPr>
              <a:t>OBJECTIV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198203" y="10503706"/>
            <a:ext cx="15049441" cy="7776306"/>
          </a:xfrm>
          <a:prstGeom prst="rect">
            <a:avLst/>
          </a:prstGeom>
          <a:noFill/>
          <a:ln w="76200">
            <a:solidFill>
              <a:srgbClr val="46C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dirty="0"/>
          </a:p>
        </p:txBody>
      </p:sp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1341666" y="4593225"/>
            <a:ext cx="14440843" cy="4370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dirty="0"/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In 2018, only 49% of HIV exposed infants (HEI) in Senegal received an Early Infant Diagnosis (EID) and 23% of people living with HIV (PLHIV) on treatment received a Viral Load (VL) test</a:t>
            </a:r>
          </a:p>
          <a:p>
            <a:pPr marL="457200" indent="-4572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Centralized EID and VL testing in Dakar and at regional laboratories has meant </a:t>
            </a:r>
            <a:r>
              <a:rPr lang="en-US" sz="4000" dirty="0" smtClean="0"/>
              <a:t>long turnaround times for patients to get back their test results </a:t>
            </a:r>
            <a:endParaRPr lang="en-US" sz="4000" dirty="0"/>
          </a:p>
          <a:p>
            <a:pPr algn="just"/>
            <a:endParaRPr lang="en-US" sz="3000" dirty="0"/>
          </a:p>
        </p:txBody>
      </p:sp>
      <p:sp>
        <p:nvSpPr>
          <p:cNvPr id="34" name="Text Box 3"/>
          <p:cNvSpPr txBox="1">
            <a:spLocks noChangeArrowheads="1"/>
          </p:cNvSpPr>
          <p:nvPr/>
        </p:nvSpPr>
        <p:spPr bwMode="auto">
          <a:xfrm>
            <a:off x="4128673" y="17523467"/>
            <a:ext cx="2095776" cy="477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3000" b="1" dirty="0"/>
              <a:t>GeneXpert</a:t>
            </a:r>
          </a:p>
        </p:txBody>
      </p:sp>
      <p:sp>
        <p:nvSpPr>
          <p:cNvPr id="35" name="Text Box 3"/>
          <p:cNvSpPr txBox="1">
            <a:spLocks noChangeArrowheads="1"/>
          </p:cNvSpPr>
          <p:nvPr/>
        </p:nvSpPr>
        <p:spPr bwMode="auto">
          <a:xfrm>
            <a:off x="11485201" y="17478375"/>
            <a:ext cx="1461891" cy="39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3000" b="1" dirty="0"/>
              <a:t>M-PIMA</a:t>
            </a:r>
          </a:p>
        </p:txBody>
      </p:sp>
      <p:sp>
        <p:nvSpPr>
          <p:cNvPr id="36" name="Text Box 3"/>
          <p:cNvSpPr txBox="1">
            <a:spLocks noChangeArrowheads="1"/>
          </p:cNvSpPr>
          <p:nvPr/>
        </p:nvSpPr>
        <p:spPr bwMode="auto">
          <a:xfrm>
            <a:off x="1149567" y="18544303"/>
            <a:ext cx="4083233" cy="693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6000" b="1" dirty="0">
                <a:solidFill>
                  <a:srgbClr val="46C2B3"/>
                </a:solidFill>
              </a:rPr>
              <a:t>METHOD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150854" y="19482774"/>
            <a:ext cx="15049441" cy="5386993"/>
          </a:xfrm>
          <a:prstGeom prst="rect">
            <a:avLst/>
          </a:prstGeom>
          <a:noFill/>
          <a:ln w="76200">
            <a:solidFill>
              <a:srgbClr val="46C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dirty="0"/>
          </a:p>
        </p:txBody>
      </p:sp>
      <p:sp>
        <p:nvSpPr>
          <p:cNvPr id="38" name="Text Box 3"/>
          <p:cNvSpPr txBox="1">
            <a:spLocks noChangeArrowheads="1"/>
          </p:cNvSpPr>
          <p:nvPr/>
        </p:nvSpPr>
        <p:spPr bwMode="auto">
          <a:xfrm>
            <a:off x="18244817" y="25248554"/>
            <a:ext cx="5248735" cy="755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6000" b="1" dirty="0">
                <a:solidFill>
                  <a:srgbClr val="46C2B3"/>
                </a:solidFill>
              </a:rPr>
              <a:t>CONCLUSION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099564" y="26174850"/>
            <a:ext cx="37357624" cy="2367496"/>
          </a:xfrm>
          <a:prstGeom prst="rect">
            <a:avLst/>
          </a:prstGeom>
          <a:noFill/>
          <a:ln w="76200">
            <a:solidFill>
              <a:srgbClr val="46C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dirty="0"/>
          </a:p>
        </p:txBody>
      </p:sp>
      <p:sp>
        <p:nvSpPr>
          <p:cNvPr id="40" name="Rectangle 39"/>
          <p:cNvSpPr/>
          <p:nvPr/>
        </p:nvSpPr>
        <p:spPr>
          <a:xfrm>
            <a:off x="17216197" y="4878062"/>
            <a:ext cx="25024002" cy="19991705"/>
          </a:xfrm>
          <a:prstGeom prst="rect">
            <a:avLst/>
          </a:prstGeom>
          <a:noFill/>
          <a:ln w="76200">
            <a:solidFill>
              <a:srgbClr val="46C2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dirty="0"/>
          </a:p>
        </p:txBody>
      </p:sp>
      <p:sp>
        <p:nvSpPr>
          <p:cNvPr id="41" name="Text Box 3"/>
          <p:cNvSpPr txBox="1">
            <a:spLocks noChangeArrowheads="1"/>
          </p:cNvSpPr>
          <p:nvPr/>
        </p:nvSpPr>
        <p:spPr bwMode="auto">
          <a:xfrm>
            <a:off x="17693857" y="5335724"/>
            <a:ext cx="24546341" cy="18471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 smtClean="0"/>
              <a:t>In 2018 pre-POC, only </a:t>
            </a:r>
            <a:r>
              <a:rPr lang="en-US" sz="4000" dirty="0"/>
              <a:t>34% of EID tests and 68% of VL tests were </a:t>
            </a:r>
            <a:r>
              <a:rPr lang="en-US" sz="4000" dirty="0" smtClean="0"/>
              <a:t>processed. In 2019, this </a:t>
            </a:r>
            <a:r>
              <a:rPr lang="en-US" sz="4000" dirty="0"/>
              <a:t>rate was over 90% post-POC</a:t>
            </a:r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5000" b="1" dirty="0"/>
              <a:t>GENEXPERT RESULTS</a:t>
            </a: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There was no conventional testing data available in </a:t>
            </a:r>
            <a:r>
              <a:rPr lang="en-US" sz="4000" dirty="0" smtClean="0"/>
              <a:t>the 2018 pre-POC phase</a:t>
            </a: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32 EID tests and 422 VL POC tests </a:t>
            </a:r>
            <a:r>
              <a:rPr lang="en-US" sz="4000" dirty="0" smtClean="0"/>
              <a:t>conducted in </a:t>
            </a:r>
            <a:r>
              <a:rPr lang="en-US" sz="4000" dirty="0"/>
              <a:t>the 2019 post-POC pilot</a:t>
            </a:r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5000" b="1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5000" b="1" dirty="0"/>
              <a:t>M-PIMA RESULTS</a:t>
            </a:r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12 EID and 107 VL conventional </a:t>
            </a:r>
            <a:r>
              <a:rPr lang="en-US" sz="4000" dirty="0" smtClean="0"/>
              <a:t>tests conducted </a:t>
            </a:r>
            <a:r>
              <a:rPr lang="en-US" sz="4000" dirty="0"/>
              <a:t>in the 2018 pre-POC phase</a:t>
            </a:r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4000" dirty="0"/>
              <a:t>54 EID and 392 VL POC </a:t>
            </a:r>
            <a:r>
              <a:rPr lang="en-US" sz="4000" dirty="0" smtClean="0"/>
              <a:t>tests conducted </a:t>
            </a:r>
            <a:r>
              <a:rPr lang="en-US" sz="4000" dirty="0"/>
              <a:t>in the 2019 post-POC pilot </a:t>
            </a:r>
            <a:endParaRPr lang="en-US" sz="5000" b="1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dirty="0"/>
          </a:p>
          <a:p>
            <a:pPr algn="just" defTabSz="525571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/>
          </a:p>
          <a:p>
            <a:pPr marL="571500" indent="-571500" algn="just" defTabSz="525571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4000" dirty="0"/>
          </a:p>
        </p:txBody>
      </p:sp>
      <p:sp>
        <p:nvSpPr>
          <p:cNvPr id="42" name="Text Box 3"/>
          <p:cNvSpPr txBox="1">
            <a:spLocks noChangeArrowheads="1"/>
          </p:cNvSpPr>
          <p:nvPr/>
        </p:nvSpPr>
        <p:spPr bwMode="auto">
          <a:xfrm>
            <a:off x="17318647" y="3988899"/>
            <a:ext cx="4083233" cy="693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57B6B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21024" tIns="21024" rIns="21024" bIns="21024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en-US" sz="6000" b="1" dirty="0">
                <a:solidFill>
                  <a:srgbClr val="46C2B3"/>
                </a:solidFill>
              </a:rPr>
              <a:t>RESULTS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619772"/>
              </p:ext>
            </p:extLst>
          </p:nvPr>
        </p:nvGraphicFramePr>
        <p:xfrm>
          <a:off x="17693856" y="9615079"/>
          <a:ext cx="13724356" cy="3401770"/>
        </p:xfrm>
        <a:graphic>
          <a:graphicData uri="http://schemas.openxmlformats.org/drawingml/2006/table">
            <a:tbl>
              <a:tblPr firstRow="1" firstCol="1" bandRow="1"/>
              <a:tblGrid>
                <a:gridCol w="4688438">
                  <a:extLst>
                    <a:ext uri="{9D8B030D-6E8A-4147-A177-3AD203B41FA5}">
                      <a16:colId xmlns:a16="http://schemas.microsoft.com/office/drawing/2014/main" xmlns="" val="2542200296"/>
                    </a:ext>
                  </a:extLst>
                </a:gridCol>
                <a:gridCol w="4256098">
                  <a:extLst>
                    <a:ext uri="{9D8B030D-6E8A-4147-A177-3AD203B41FA5}">
                      <a16:colId xmlns:a16="http://schemas.microsoft.com/office/drawing/2014/main" xmlns="" val="492961964"/>
                    </a:ext>
                  </a:extLst>
                </a:gridCol>
                <a:gridCol w="4779820">
                  <a:extLst>
                    <a:ext uri="{9D8B030D-6E8A-4147-A177-3AD203B41FA5}">
                      <a16:colId xmlns:a16="http://schemas.microsoft.com/office/drawing/2014/main" xmlns="" val="2212994300"/>
                    </a:ext>
                  </a:extLst>
                </a:gridCol>
              </a:tblGrid>
              <a:tr h="963370">
                <a:tc>
                  <a:txBody>
                    <a:bodyPr/>
                    <a:lstStyle/>
                    <a:p>
                      <a:pPr eaLnBrk="1"/>
                      <a:endParaRPr lang="en-US" sz="4000" noProof="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neXpert</a:t>
                      </a: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ID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neXpert</a:t>
                      </a: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VL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0230779"/>
                  </a:ext>
                </a:extLst>
              </a:tr>
              <a:tr h="9888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time from sample collection to result return to patient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day (1-2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day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1-1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42838060"/>
                  </a:ext>
                </a:extLst>
              </a:tr>
            </a:tbl>
          </a:graphicData>
        </a:graphic>
      </p:graphicFrame>
      <p:graphicFrame>
        <p:nvGraphicFramePr>
          <p:cNvPr id="222" name="Chart 22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91749630"/>
              </p:ext>
            </p:extLst>
          </p:nvPr>
        </p:nvGraphicFramePr>
        <p:xfrm>
          <a:off x="35264725" y="8216900"/>
          <a:ext cx="5127625" cy="4957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 bwMode="auto">
          <a:xfrm flipH="1">
            <a:off x="39081075" y="8299450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9173150" y="9731375"/>
            <a:ext cx="210978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199096-32F6-4582-A8CE-B9D78A6D4F11}" type="datetime'&lt;''''''''1,''''''''''''''''00''''0 ''c''''''''''''pm'''''">
              <a:rPr lang="fr-FR" altLang="en-US" sz="35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&lt;1,000 cpm</a:t>
            </a:fld>
            <a:endParaRPr lang="fr-FR" sz="35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710938" y="13174663"/>
            <a:ext cx="2235200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8BA90C-898E-417E-9225-AC87C405821F}" type="datetime'''VL'''''''' re''''''''s''''''''ul''t''''s'' '''''''''''">
              <a:rPr lang="en-US" altLang="en-US" sz="4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L results </a:t>
            </a:fld>
            <a:r>
              <a:rPr lang="en-US" sz="4000" dirty="0">
                <a:sym typeface="+mn-lt"/>
              </a:rPr>
              <a:t/>
            </a:r>
            <a:br>
              <a:rPr lang="en-US" sz="4000" dirty="0">
                <a:sym typeface="+mn-lt"/>
              </a:rPr>
            </a:br>
            <a:r>
              <a:rPr lang="en-US" sz="4000" dirty="0">
                <a:sym typeface="+mn-lt"/>
              </a:rPr>
              <a:t>GeneXpert</a:t>
            </a:r>
            <a:endParaRPr lang="fr-FR" sz="40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335075" y="8059738"/>
            <a:ext cx="9937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06CE6CA-8B35-4873-B8AD-80387C72D962}" type="datetime'''''''''''''''''1''''0''''''''''''0''''%'''''''''''''''''''">
              <a:rPr lang="fr-FR" altLang="en-US" sz="35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fr-FR" sz="35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173150" y="12084050"/>
            <a:ext cx="1998663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B47C81-F8F5-4D35-B000-97E429E4F47B}" type="datetime'''''''''&gt;1''''''''00''''''''''''''0 c''p''''m'''''''''">
              <a:rPr lang="fr-FR" altLang="en-US" sz="35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&gt;1000 cpm</a:t>
            </a:fld>
            <a:endParaRPr lang="fr-FR" sz="35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7199888" y="7794625"/>
            <a:ext cx="12573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63500" tIns="0" rIns="63500" bIns="0" numCol="1" spcCol="0" rtlCol="0" anchor="b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3500" dirty="0"/>
              <a:t>n=</a:t>
            </a:r>
            <a:fld id="{61ED1442-ABAD-4FF7-A170-C09AAAE143E3}" type="datetime'''''''''''''''''''''''''''''''4''''''''''''2''''''''''''2'''">
              <a:rPr lang="fr-FR" altLang="en-US" sz="35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2</a:t>
            </a:fld>
            <a:endParaRPr lang="fr-FR" sz="3500" dirty="0">
              <a:sym typeface="+mn-lt"/>
            </a:endParaRPr>
          </a:p>
        </p:txBody>
      </p:sp>
      <p:graphicFrame>
        <p:nvGraphicFramePr>
          <p:cNvPr id="132" name="Table 1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062827"/>
              </p:ext>
            </p:extLst>
          </p:nvPr>
        </p:nvGraphicFramePr>
        <p:xfrm>
          <a:off x="17693856" y="15825174"/>
          <a:ext cx="13724356" cy="3657600"/>
        </p:xfrm>
        <a:graphic>
          <a:graphicData uri="http://schemas.openxmlformats.org/drawingml/2006/table">
            <a:tbl>
              <a:tblPr firstRow="1" firstCol="1" bandRow="1"/>
              <a:tblGrid>
                <a:gridCol w="4688438">
                  <a:extLst>
                    <a:ext uri="{9D8B030D-6E8A-4147-A177-3AD203B41FA5}">
                      <a16:colId xmlns:a16="http://schemas.microsoft.com/office/drawing/2014/main" xmlns="" val="2542200296"/>
                    </a:ext>
                  </a:extLst>
                </a:gridCol>
                <a:gridCol w="4256098">
                  <a:extLst>
                    <a:ext uri="{9D8B030D-6E8A-4147-A177-3AD203B41FA5}">
                      <a16:colId xmlns:a16="http://schemas.microsoft.com/office/drawing/2014/main" xmlns="" val="492961964"/>
                    </a:ext>
                  </a:extLst>
                </a:gridCol>
                <a:gridCol w="4779820">
                  <a:extLst>
                    <a:ext uri="{9D8B030D-6E8A-4147-A177-3AD203B41FA5}">
                      <a16:colId xmlns:a16="http://schemas.microsoft.com/office/drawing/2014/main" xmlns="" val="2212994300"/>
                    </a:ext>
                  </a:extLst>
                </a:gridCol>
              </a:tblGrid>
              <a:tr h="208355">
                <a:tc>
                  <a:txBody>
                    <a:bodyPr/>
                    <a:lstStyle/>
                    <a:p>
                      <a:pPr eaLnBrk="1"/>
                      <a:endParaRPr lang="en-US" sz="4000" noProof="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ventional EID testing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ventional VL testing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0230779"/>
                  </a:ext>
                </a:extLst>
              </a:tr>
              <a:tr h="9888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time from sample collection to result return to patient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7 days (107-107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7 days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310-321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42838060"/>
                  </a:ext>
                </a:extLst>
              </a:tr>
            </a:tbl>
          </a:graphicData>
        </a:graphic>
      </p:graphicFrame>
      <p:graphicFrame>
        <p:nvGraphicFramePr>
          <p:cNvPr id="133" name="Table 1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527295"/>
              </p:ext>
            </p:extLst>
          </p:nvPr>
        </p:nvGraphicFramePr>
        <p:xfrm>
          <a:off x="17693856" y="20609571"/>
          <a:ext cx="13724356" cy="3401770"/>
        </p:xfrm>
        <a:graphic>
          <a:graphicData uri="http://schemas.openxmlformats.org/drawingml/2006/table">
            <a:tbl>
              <a:tblPr firstRow="1" firstCol="1" bandRow="1"/>
              <a:tblGrid>
                <a:gridCol w="4688438">
                  <a:extLst>
                    <a:ext uri="{9D8B030D-6E8A-4147-A177-3AD203B41FA5}">
                      <a16:colId xmlns:a16="http://schemas.microsoft.com/office/drawing/2014/main" xmlns="" val="2542200296"/>
                    </a:ext>
                  </a:extLst>
                </a:gridCol>
                <a:gridCol w="4256098">
                  <a:extLst>
                    <a:ext uri="{9D8B030D-6E8A-4147-A177-3AD203B41FA5}">
                      <a16:colId xmlns:a16="http://schemas.microsoft.com/office/drawing/2014/main" xmlns="" val="492961964"/>
                    </a:ext>
                  </a:extLst>
                </a:gridCol>
                <a:gridCol w="4779820">
                  <a:extLst>
                    <a:ext uri="{9D8B030D-6E8A-4147-A177-3AD203B41FA5}">
                      <a16:colId xmlns:a16="http://schemas.microsoft.com/office/drawing/2014/main" xmlns="" val="2212994300"/>
                    </a:ext>
                  </a:extLst>
                </a:gridCol>
              </a:tblGrid>
              <a:tr h="963370">
                <a:tc>
                  <a:txBody>
                    <a:bodyPr/>
                    <a:lstStyle/>
                    <a:p>
                      <a:pPr eaLnBrk="1"/>
                      <a:endParaRPr lang="en-US" sz="4000" noProof="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-PIMA EID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-PIMA VL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C2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0230779"/>
                  </a:ext>
                </a:extLst>
              </a:tr>
              <a:tr h="9888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verage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time from sample collection to result return to patient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day (1-2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days</a:t>
                      </a:r>
                      <a:r>
                        <a:rPr lang="en-US" sz="4000" baseline="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2-13)</a:t>
                      </a:r>
                      <a:endParaRPr lang="en-US" sz="4000" noProof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42838060"/>
                  </a:ext>
                </a:extLst>
              </a:tr>
            </a:tbl>
          </a:graphicData>
        </a:graphic>
      </p:graphicFrame>
      <p:graphicFrame>
        <p:nvGraphicFramePr>
          <p:cNvPr id="231" name="Chart 230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67143734"/>
              </p:ext>
            </p:extLst>
          </p:nvPr>
        </p:nvGraphicFramePr>
        <p:xfrm>
          <a:off x="34093150" y="17395825"/>
          <a:ext cx="7453313" cy="4918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139" name="Straight Connector 138"/>
          <p:cNvCxnSpPr/>
          <p:nvPr>
            <p:custDataLst>
              <p:tags r:id="rId12"/>
            </p:custDataLst>
          </p:nvPr>
        </p:nvCxnSpPr>
        <p:spPr bwMode="auto">
          <a:xfrm>
            <a:off x="33921700" y="17478375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4767838" y="16903700"/>
            <a:ext cx="1246188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4000" dirty="0"/>
              <a:t>n=</a:t>
            </a:r>
            <a:fld id="{6031C9E9-C9D2-461B-AE11-64E9D3912068}" type="datetime'''''''''''''''''''''3''''''''''''''''''''''''''6''''''''4'''">
              <a:rPr lang="fr-FR" altLang="en-US" sz="35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4</a:t>
            </a:fld>
            <a:endParaRPr lang="fr-FR" sz="35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502725" y="22313900"/>
            <a:ext cx="1776413" cy="164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4000" dirty="0"/>
              <a:t>VL HIV-1</a:t>
            </a:r>
            <a:r>
              <a:rPr lang="en-US" sz="4000" dirty="0">
                <a:sym typeface="+mn-lt"/>
              </a:rPr>
              <a:t/>
            </a:r>
            <a:br>
              <a:rPr lang="en-US" sz="4000" dirty="0">
                <a:sym typeface="+mn-lt"/>
              </a:rPr>
            </a:br>
            <a:r>
              <a:rPr lang="en-US" sz="4000" dirty="0">
                <a:sym typeface="+mn-lt"/>
              </a:rPr>
              <a:t>m-PIMA  results</a:t>
            </a:r>
            <a:endParaRPr lang="fr-FR" sz="40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923038" y="19042063"/>
            <a:ext cx="210978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F05EB9-F39C-4DB3-9ABD-2A656B7FE268}" type="datetime'''''''&lt;''''1'''',''''0''0''''''0'''' ''''''''c''''p''m'''''''">
              <a:rPr lang="fr-FR" altLang="en-US" sz="35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lt;1,000 cpm</a:t>
            </a:fld>
            <a:endParaRPr lang="fr-FR" sz="3500" dirty="0"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2034163" y="21374100"/>
            <a:ext cx="1998663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822019C-88BF-41D3-86BB-5E024012F055}" type="datetime'''''&gt;''1''''''''0''''''''''00'' c''''''''''p''''m'''''''''''''">
              <a:rPr lang="fr-FR" altLang="en-US" sz="35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&gt;1000 cpm</a:t>
            </a:fld>
            <a:endParaRPr lang="fr-FR" sz="3500" dirty="0"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2877125" y="17238663"/>
            <a:ext cx="9937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410413-A75C-4921-94F8-AE4C66BDA27A}" type="datetime'''''''''''''''10''''''''''0%'''''''''''''''''''''''''''">
              <a:rPr lang="fr-FR" altLang="en-US" sz="35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fr-FR" sz="3500" dirty="0">
              <a:sym typeface="+mn-lt"/>
            </a:endParaRP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362063" y="22313900"/>
            <a:ext cx="1776413" cy="164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0F77BE-9D5A-4633-BC45-9570C0804D88}" type="datetime'VL HIV''-2'''' m''-PIMA'''''' ''r''''''''es''u''''l''ts'''''">
              <a:rPr lang="fr-FR" altLang="en-US" sz="4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L HIV-2 m-PIMA results</a:t>
            </a:fld>
            <a:endParaRPr lang="fr-FR" sz="4000" dirty="0"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733538" y="16973550"/>
            <a:ext cx="103187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63500" tIns="0" rIns="63500" bIns="0" numCol="1" spcCol="0" rtlCol="0" anchor="b" anchorCtr="0">
            <a:noAutofit/>
          </a:bodyPr>
          <a:lstStyle>
            <a:lvl1pPr marL="1009178" indent="-1009178" algn="l" defTabSz="4036710" rtl="0" eaLnBrk="1" latinLnBrk="0" hangingPunct="1">
              <a:lnSpc>
                <a:spcPct val="90000"/>
              </a:lnSpc>
              <a:spcBef>
                <a:spcPts val="4415"/>
              </a:spcBef>
              <a:buFont typeface="Arial" panose="020B0604020202020204" pitchFamily="34" charset="0"/>
              <a:buChar char="•"/>
              <a:defRPr sz="12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753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105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4588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882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6424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8259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0095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119308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37663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156019" indent="-1009178" algn="l" defTabSz="4036710" rtl="0" eaLnBrk="1" latinLnBrk="0" hangingPunct="1">
              <a:lnSpc>
                <a:spcPct val="90000"/>
              </a:lnSpc>
              <a:spcBef>
                <a:spcPts val="2207"/>
              </a:spcBef>
              <a:buFont typeface="Arial" panose="020B0604020202020204" pitchFamily="34" charset="0"/>
              <a:buChar char="•"/>
              <a:defRPr sz="79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altLang="en-US" sz="3500" dirty="0"/>
              <a:t>n=</a:t>
            </a:r>
            <a:fld id="{9852BB96-B7AB-4C46-96BB-585FCC63941E}" type="datetime'''''''''''''''''3''''''''''''''2'''''''''''''''">
              <a:rPr lang="fr-FR" altLang="en-US" sz="35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fr-FR" sz="35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511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j._MXDwyJOcvWLbW8R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Sms4hBm1IDVZKrrp7m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xpSgteKKjxsppG99ZK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wGbrobHmLWY7zRez8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aoa90XuiooSOd_bhb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8q_ltd4qDjVqg_lShm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kUuJTyhUY7TYLa3.IT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4_ov9nruHQbf5FlEcC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rxb6LDlJHJLLHRwvwx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6ItOye7fyFk3cm9Kf0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KhLlwUVvJiOwbsTUlR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eS5pb742RTkJ3kuuMo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rnEgpc.Ju9YJMPZ4P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XQCZiCfaeXPcQotnY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ONjL5W51jVIpcsr.ez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E63ML1tfXC3g9e1KOn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1Q39B_vnMVvrwhEbiM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JpBjihqxOEf.pSCZXQ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5</TotalTime>
  <Words>482</Words>
  <Application>Microsoft Office PowerPoint</Application>
  <PresentationFormat>Personnalisé</PresentationFormat>
  <Paragraphs>8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Century Gothic</vt:lpstr>
      <vt:lpstr>Gill Sans MT</vt:lpstr>
      <vt:lpstr>Times New Roman</vt:lpstr>
      <vt:lpstr>Office Theme</vt:lpstr>
      <vt:lpstr>think-cell Slide</vt:lpstr>
      <vt:lpstr>Présentation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a Dolan</dc:creator>
  <cp:lastModifiedBy>LENOVO</cp:lastModifiedBy>
  <cp:revision>61</cp:revision>
  <dcterms:created xsi:type="dcterms:W3CDTF">2016-06-23T11:49:10Z</dcterms:created>
  <dcterms:modified xsi:type="dcterms:W3CDTF">2020-06-20T20:26:30Z</dcterms:modified>
</cp:coreProperties>
</file>